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theme/themeOverride2.xml" ContentType="application/vnd.openxmlformats-officedocument.themeOverride+xml"/>
  <Override PartName="/ppt/charts/chart4.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tags/tag34.xml" ContentType="application/vnd.openxmlformats-officedocument.presentationml.tags+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tags/tag35.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tags/tag3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6" r:id="rId4"/>
  </p:sldMasterIdLst>
  <p:notesMasterIdLst>
    <p:notesMasterId r:id="rId15"/>
  </p:notesMasterIdLst>
  <p:sldIdLst>
    <p:sldId id="2147378078" r:id="rId5"/>
    <p:sldId id="2147475149" r:id="rId6"/>
    <p:sldId id="2147473412" r:id="rId7"/>
    <p:sldId id="13801" r:id="rId8"/>
    <p:sldId id="2147473384" r:id="rId9"/>
    <p:sldId id="2147475168" r:id="rId10"/>
    <p:sldId id="2147475151" r:id="rId11"/>
    <p:sldId id="2147475152" r:id="rId12"/>
    <p:sldId id="2147475148" r:id="rId13"/>
    <p:sldId id="2147475150" r:id="rId1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DCFCA"/>
    <a:srgbClr val="A6DAD6"/>
    <a:srgbClr val="B2DFDC"/>
    <a:srgbClr val="43A39C"/>
    <a:srgbClr val="48AEA6"/>
    <a:srgbClr val="FF6969"/>
    <a:srgbClr val="FF7171"/>
    <a:srgbClr val="FF5B5B"/>
    <a:srgbClr val="FF6565"/>
    <a:srgbClr val="FF797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E81D5E-7428-4206-B7E6-6B818DF1C011}" v="12" dt="2024-11-01T08:47:36.4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B6E81D5E-7428-4206-B7E6-6B818DF1C011}"/>
    <pc:docChg chg="custSel modSld delMainMaster modMainMaster">
      <pc:chgData name="Neriman EL HADIDI" userId="4b24840c-84b3-44ac-9131-ca3568cb403b" providerId="ADAL" clId="{B6E81D5E-7428-4206-B7E6-6B818DF1C011}" dt="2024-11-01T08:47:36.460" v="10"/>
      <pc:docMkLst>
        <pc:docMk/>
      </pc:docMkLst>
      <pc:sldChg chg="delSp mod">
        <pc:chgData name="Neriman EL HADIDI" userId="4b24840c-84b3-44ac-9131-ca3568cb403b" providerId="ADAL" clId="{B6E81D5E-7428-4206-B7E6-6B818DF1C011}" dt="2024-11-01T08:44:36.398" v="0" actId="478"/>
        <pc:sldMkLst>
          <pc:docMk/>
          <pc:sldMk cId="0" sldId="2147473412"/>
        </pc:sldMkLst>
        <pc:spChg chg="del">
          <ac:chgData name="Neriman EL HADIDI" userId="4b24840c-84b3-44ac-9131-ca3568cb403b" providerId="ADAL" clId="{B6E81D5E-7428-4206-B7E6-6B818DF1C011}" dt="2024-11-01T08:44:36.398" v="0" actId="478"/>
          <ac:spMkLst>
            <pc:docMk/>
            <pc:sldMk cId="0" sldId="2147473412"/>
            <ac:spMk id="3" creationId="{628F787F-C378-5EE4-B305-0AE361710C10}"/>
          </ac:spMkLst>
        </pc:spChg>
        <pc:spChg chg="del">
          <ac:chgData name="Neriman EL HADIDI" userId="4b24840c-84b3-44ac-9131-ca3568cb403b" providerId="ADAL" clId="{B6E81D5E-7428-4206-B7E6-6B818DF1C011}" dt="2024-11-01T08:44:36.398" v="0" actId="478"/>
          <ac:spMkLst>
            <pc:docMk/>
            <pc:sldMk cId="0" sldId="2147473412"/>
            <ac:spMk id="8" creationId="{B0B95055-509A-F445-86D3-A92D25C20D8B}"/>
          </ac:spMkLst>
        </pc:spChg>
      </pc:sldChg>
      <pc:sldChg chg="modSp">
        <pc:chgData name="Neriman EL HADIDI" userId="4b24840c-84b3-44ac-9131-ca3568cb403b" providerId="ADAL" clId="{B6E81D5E-7428-4206-B7E6-6B818DF1C011}" dt="2024-11-01T08:47:36.460" v="10"/>
        <pc:sldMkLst>
          <pc:docMk/>
          <pc:sldMk cId="1059335515" sldId="2147475149"/>
        </pc:sldMkLst>
        <pc:graphicFrameChg chg="mod">
          <ac:chgData name="Neriman EL HADIDI" userId="4b24840c-84b3-44ac-9131-ca3568cb403b" providerId="ADAL" clId="{B6E81D5E-7428-4206-B7E6-6B818DF1C011}" dt="2024-11-01T08:47:36.460" v="10"/>
          <ac:graphicFrameMkLst>
            <pc:docMk/>
            <pc:sldMk cId="1059335515" sldId="2147475149"/>
            <ac:graphicFrameMk id="30" creationId="{BEA8EE7C-F76C-4D6E-8B71-2C2B6C6C031D}"/>
          </ac:graphicFrameMkLst>
        </pc:graphicFrameChg>
        <pc:graphicFrameChg chg="mod">
          <ac:chgData name="Neriman EL HADIDI" userId="4b24840c-84b3-44ac-9131-ca3568cb403b" providerId="ADAL" clId="{B6E81D5E-7428-4206-B7E6-6B818DF1C011}" dt="2024-11-01T08:47:29.505" v="9"/>
          <ac:graphicFrameMkLst>
            <pc:docMk/>
            <pc:sldMk cId="1059335515" sldId="2147475149"/>
            <ac:graphicFrameMk id="31" creationId="{D60E6CB1-B8E9-4BFA-A4C2-BE3B93DBDF82}"/>
          </ac:graphicFrameMkLst>
        </pc:graphicFrameChg>
        <pc:graphicFrameChg chg="mod">
          <ac:chgData name="Neriman EL HADIDI" userId="4b24840c-84b3-44ac-9131-ca3568cb403b" providerId="ADAL" clId="{B6E81D5E-7428-4206-B7E6-6B818DF1C011}" dt="2024-11-01T08:47:09.717" v="8"/>
          <ac:graphicFrameMkLst>
            <pc:docMk/>
            <pc:sldMk cId="1059335515" sldId="2147475149"/>
            <ac:graphicFrameMk id="32" creationId="{7F09B27F-4E26-4EFB-8578-68A3DB9629CA}"/>
          </ac:graphicFrameMkLst>
        </pc:graphicFrameChg>
      </pc:sldChg>
      <pc:sldMasterChg chg="del">
        <pc:chgData name="Neriman EL HADIDI" userId="4b24840c-84b3-44ac-9131-ca3568cb403b" providerId="ADAL" clId="{B6E81D5E-7428-4206-B7E6-6B818DF1C011}" dt="2024-11-01T08:45:39.187" v="1" actId="2696"/>
        <pc:sldMasterMkLst>
          <pc:docMk/>
          <pc:sldMasterMk cId="823099819" sldId="2147483792"/>
        </pc:sldMasterMkLst>
      </pc:sldMasterChg>
      <pc:sldMasterChg chg="del">
        <pc:chgData name="Neriman EL HADIDI" userId="4b24840c-84b3-44ac-9131-ca3568cb403b" providerId="ADAL" clId="{B6E81D5E-7428-4206-B7E6-6B818DF1C011}" dt="2024-11-01T08:46:04.026" v="2" actId="2696"/>
        <pc:sldMasterMkLst>
          <pc:docMk/>
          <pc:sldMasterMk cId="4279359491" sldId="2147483842"/>
        </pc:sldMasterMkLst>
      </pc:sldMasterChg>
      <pc:sldMasterChg chg="modSldLayout">
        <pc:chgData name="Neriman EL HADIDI" userId="4b24840c-84b3-44ac-9131-ca3568cb403b" providerId="ADAL" clId="{B6E81D5E-7428-4206-B7E6-6B818DF1C011}" dt="2024-11-01T08:46:19.132" v="3" actId="14100"/>
        <pc:sldMasterMkLst>
          <pc:docMk/>
          <pc:sldMasterMk cId="4001983691" sldId="2147483946"/>
        </pc:sldMasterMkLst>
        <pc:sldLayoutChg chg="modSp mod">
          <pc:chgData name="Neriman EL HADIDI" userId="4b24840c-84b3-44ac-9131-ca3568cb403b" providerId="ADAL" clId="{B6E81D5E-7428-4206-B7E6-6B818DF1C011}" dt="2024-11-01T08:46:19.132" v="3" actId="14100"/>
          <pc:sldLayoutMkLst>
            <pc:docMk/>
            <pc:sldMasterMk cId="4001983691" sldId="2147483946"/>
            <pc:sldLayoutMk cId="4023644576" sldId="2147484007"/>
          </pc:sldLayoutMkLst>
          <pc:spChg chg="mod">
            <ac:chgData name="Neriman EL HADIDI" userId="4b24840c-84b3-44ac-9131-ca3568cb403b" providerId="ADAL" clId="{B6E81D5E-7428-4206-B7E6-6B818DF1C011}" dt="2024-11-01T08:46:19.132" v="3" actId="14100"/>
            <ac:spMkLst>
              <pc:docMk/>
              <pc:sldMasterMk cId="4001983691" sldId="2147483946"/>
              <pc:sldLayoutMk cId="4023644576" sldId="2147484007"/>
              <ac:spMk id="2" creationId="{E5808D65-B4B3-3AF9-D068-D172F8F8A3C9}"/>
            </ac:spMkLst>
          </pc:spChg>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1.xml"/><Relationship Id="rId1" Type="http://schemas.microsoft.com/office/2011/relationships/chartStyle" Target="style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59292F9-B548-4660-90AD-F5D5D96979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3B9A23A-8DCD-425D-95C7-6A24D860B3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11689671-B83F-458E-8CA7-9574E6A1CC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352924F-F42D-4DA5-8B52-4129BC218A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7EABE05-726C-4A3E-8395-2C85EE8674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5F6A6758-303C-4AD9-BFC1-0A80C927A0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4B003D0-58C6-456C-BA7D-48882D6972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06383A3F-F0BA-404B-8196-80B2A48E83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vs 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AEABAB"/>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rgbClr val="AEABAB">
                <a:alpha val="84706"/>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3:$G$3</c:f>
              <c:numCache>
                <c:formatCode>General</c:formatCode>
                <c:ptCount val="6"/>
                <c:pt idx="0">
                  <c:v>20.145111283183002</c:v>
                </c:pt>
                <c:pt idx="1">
                  <c:v>18.297219713472032</c:v>
                </c:pt>
                <c:pt idx="2">
                  <c:v>25.215493998588325</c:v>
                </c:pt>
                <c:pt idx="3">
                  <c:v>16.596265989331574</c:v>
                </c:pt>
                <c:pt idx="4">
                  <c:v>16.081540373663277</c:v>
                </c:pt>
                <c:pt idx="5">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2:$G$2</c:f>
              <c:numCache>
                <c:formatCode>General</c:formatCode>
                <c:ptCount val="6"/>
                <c:pt idx="0">
                  <c:v>10.758277061615859</c:v>
                </c:pt>
                <c:pt idx="1">
                  <c:v>3.0910347181407487</c:v>
                </c:pt>
                <c:pt idx="2">
                  <c:v>12.157943314665218</c:v>
                </c:pt>
                <c:pt idx="3">
                  <c:v>8.6870910655722113</c:v>
                </c:pt>
                <c:pt idx="4">
                  <c:v>19.550743503425565</c:v>
                </c:pt>
                <c:pt idx="5">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4:$G$4</c:f>
              <c:numCache>
                <c:formatCode>General</c:formatCode>
                <c:ptCount val="6"/>
                <c:pt idx="0">
                  <c:v>47.834263859993008</c:v>
                </c:pt>
                <c:pt idx="1">
                  <c:v>44.445643468329422</c:v>
                </c:pt>
                <c:pt idx="2">
                  <c:v>52.617033699389324</c:v>
                </c:pt>
                <c:pt idx="3">
                  <c:v>38.875956611038255</c:v>
                </c:pt>
                <c:pt idx="4">
                  <c:v>73.189835909430073</c:v>
                </c:pt>
                <c:pt idx="5">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5:$G$5</c:f>
              <c:numCache>
                <c:formatCode>General</c:formatCode>
                <c:ptCount val="6"/>
                <c:pt idx="0">
                  <c:v>11.810647830718807</c:v>
                </c:pt>
                <c:pt idx="1">
                  <c:v>9.8750846849913358</c:v>
                </c:pt>
                <c:pt idx="2">
                  <c:v>13.498570651896415</c:v>
                </c:pt>
                <c:pt idx="3">
                  <c:v>9.6238970498913119</c:v>
                </c:pt>
                <c:pt idx="4">
                  <c:v>16.323317967977829</c:v>
                </c:pt>
                <c:pt idx="5">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F39E5FE6-69D3-421E-98A8-3A2A91A2D8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11C18D95-E237-4F10-B8EC-289CC2D4B4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BA053443-2BB4-48AF-A6C8-E4D11A7B8C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42A6CF2-2177-4EBD-883E-3125932D99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4C004E78-80CC-4DA8-9C8F-6B602675E3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DED76658-8C4E-4B19-8A2D-14D717BB01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FC3D5619-D019-4D9A-9A22-B69A135F28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9899033B-A43F-4603-9DD5-00D788E11E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86000C6-C201-4DC1-A8BA-96EDD43CC1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3B429642-9584-4A92-9429-D6FB19BDAE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F32C23C2-4DF2-4FF5-B559-DBD45F6263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3CBB3B2D-E828-46F3-A79C-526B104B5E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36E32D74-5F2E-4CD0-8802-772BB9B1EC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9596667E-474C-4020-A109-04CD131294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9B97C642-F3CB-44A5-A5D4-1536611AF5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7FDE2468-CEA0-40C5-AA76-54B996FE5E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B7A91746-DCA2-4C52-ADE6-85DE8BC1F3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C7083E81-09B9-4310-ACAA-B9970372CF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6D7CD285-4A2D-403D-AA95-C58224F725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CBB6457C-8782-45CD-8966-69B652EA93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B2CC4DBB-0512-45B0-A9FA-303DA64148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784BAE9E-523F-4367-AEDB-B1509A00B4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460820FC-D887-4E91-8202-41D9F119EC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838C5770-0E37-4D7C-B7E5-1B070DF81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17627B6B-41A9-4994-A4BD-0E5B8194E8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581F2A1F-E47F-443B-AA4A-8B9E63AF0D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147582B5-F3BF-4252-8131-7C98EC81E2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EAF6CB0B-0AAB-4D6E-B315-24296608DC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52A5C9CF-F380-4065-A58D-39675BE989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0C006505-214E-4D0B-B2B5-F4ED6C7B4A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1354FDF9-09A8-4EA1-AA64-992421BDCD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B4FFC721-7A3E-4833-9E69-667CF8141D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EA7469DB-D5F8-47E7-99DF-6B0E705EA2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B6D384C8-110E-43AC-AC45-947944174C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C434CD9-3D1D-4C8D-9E4C-9F6A53019D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00FE4F17-B17A-42B0-9FB6-38295BFC62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8AA88907-8B1D-487B-A6CC-318748CA4B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F9598FC8-58DE-4EC5-8CA2-907DB33AFA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67F1F384-45B9-4217-A47D-80F1C301C2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1B767C0-6172-4537-AF56-809F18FE6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D3F60A34-41D5-422F-8DA7-A943CAC610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83740EBA-26D6-4B5B-8848-EBC6F831F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5B44D601-F396-42B8-B182-B3FF7C8105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95D86389-001A-43AC-BBA0-4EBB189ECC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FB0F1BEF-143F-4CF7-88F6-D09665ABA3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3C33D353-02E5-4FCC-9E71-030BBD2132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810EDD62-D051-4A65-82C5-1F35A7CE22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BE1D8CC1-C703-471C-82B0-BB0844691E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E8824D1D-FDAC-49BB-B128-EDD40C376C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EF325D11-00DC-445B-B16C-B55106D217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339D15C7-EAA6-4B6E-A2C4-1DD77B9094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2D018A4B-5431-47FC-B4D8-74C427620B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8457892A-A0CE-483F-A19F-7A5AD0B2E0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2024D8F4-945A-4D11-B1EF-402DC14DA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3701544B-1EF6-4099-B1DF-28EA4E901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006418DD-FEB3-4734-AEFE-1BC3E7A8BF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E0CF3845-7491-494D-892D-A5A7EAFF71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60AA5D-4F30-4926-832F-1F6D5DB8C3D3}" type="datetimeFigureOut">
              <a:rPr lang="en-AE" smtClean="0"/>
              <a:t>20/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417CA-BF64-4138-B35A-E36A7A78C840}" type="slidenum">
              <a:rPr lang="en-AE" smtClean="0"/>
              <a:t>‹#›</a:t>
            </a:fld>
            <a:endParaRPr lang="en-AE"/>
          </a:p>
        </p:txBody>
      </p:sp>
    </p:spTree>
    <p:extLst>
      <p:ext uri="{BB962C8B-B14F-4D97-AF65-F5344CB8AC3E}">
        <p14:creationId xmlns:p14="http://schemas.microsoft.com/office/powerpoint/2010/main" val="10909677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094107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42771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5649971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09817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68814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270945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837920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1529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03419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04443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13046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2898284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78413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163276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311731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905287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077200" y="4972050"/>
            <a:ext cx="562799" cy="171450"/>
          </a:xfrm>
          <a:prstGeom prst="rect">
            <a:avLst/>
          </a:prstGeom>
        </p:spPr>
        <p:txBody>
          <a:bodyPr/>
          <a:lstStyle>
            <a:lvl1pPr>
              <a:defRPr/>
            </a:lvl1pPr>
          </a:lstStyle>
          <a:p>
            <a:r>
              <a:rPr lang="en-US" dirty="0"/>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0236445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r>
              <a:rPr lang="en-US"/>
              <a:t>14/01/2024</a:t>
            </a:r>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06911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2474003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4066354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3252070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358720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r>
              <a:rPr lang="en-US"/>
              <a:t>14/01/2024</a:t>
            </a:r>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4285317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5776292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spTree>
    <p:extLst>
      <p:ext uri="{BB962C8B-B14F-4D97-AF65-F5344CB8AC3E}">
        <p14:creationId xmlns:p14="http://schemas.microsoft.com/office/powerpoint/2010/main" val="4001983691"/>
      </p:ext>
    </p:extLst>
  </p:cSld>
  <p:clrMap bg1="lt1" tx1="dk1" bg2="lt2" tx2="dk2" accent1="accent1" accent2="accent2" accent3="accent3" accent4="accent4" accent5="accent5" accent6="accent6" hlink="hlink" folHlink="folHlink"/>
  <p:sldLayoutIdLst>
    <p:sldLayoutId id="2147483947"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 id="2147483969" r:id="rId20"/>
    <p:sldLayoutId id="2147483970" r:id="rId21"/>
    <p:sldLayoutId id="2147483971" r:id="rId22"/>
    <p:sldLayoutId id="2147484006" r:id="rId23"/>
    <p:sldLayoutId id="2147484007"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notesSlide" Target="../notesSlides/notesSlide2.xml"/><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6.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rPr lang="en-US" dirty="0"/>
              <a:t>Trade margin table vs Competition </a:t>
            </a:r>
            <a:r>
              <a:rPr lang="en-GB" dirty="0"/>
              <a:t>|</a:t>
            </a:r>
            <a:r>
              <a:rPr lang="en-CH" dirty="0"/>
              <a:t> </a:t>
            </a:r>
            <a:r>
              <a:rPr lang="en-US" dirty="0"/>
              <a:t>Chocolate | Panda </a:t>
            </a:r>
            <a:r>
              <a:rPr lang="en-GB" dirty="0"/>
              <a:t>|</a:t>
            </a:r>
            <a:r>
              <a:rPr lang="en-CH" dirty="0"/>
              <a:t> </a:t>
            </a:r>
            <a:r>
              <a:rPr lang="en-US" dirty="0"/>
              <a:t>Hershey’s | P12M</a:t>
            </a:r>
            <a:endParaRPr lang="en-GB" dirty="0"/>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534140"/>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fontAlgn="ctr"/>
                      <a:r>
                        <a:rPr lang="en-US" sz="1000" b="0" i="0" u="none" strike="noStrike">
                          <a:solidFill>
                            <a:schemeClr val="bg1"/>
                          </a:solidFill>
                          <a:effectLst/>
                          <a:latin typeface="Nexa Bold" panose="00000800000000000000" pitchFamily="2" charset="0"/>
                        </a:rPr>
                        <a:t>Customer Profit from </a:t>
                      </a:r>
                      <a:r>
                        <a:rPr lang="en-US" sz="1000" b="0" i="0" u="none" strike="noStrike">
                          <a:solidFill>
                            <a:schemeClr val="bg1"/>
                          </a:solidFill>
                          <a:effectLst/>
                          <a:highlight>
                            <a:srgbClr val="FFFF00"/>
                          </a:highlight>
                          <a:latin typeface="Nexa Bold" panose="00000800000000000000" pitchFamily="2" charset="0"/>
                        </a:rPr>
                        <a:t>Client</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fontAlgn="ctr"/>
                      <a:r>
                        <a:rPr kumimoji="0" lang="en-US" sz="1000" b="0" i="0" u="none" strike="noStrike" kern="1200" cap="none" spc="0" normalizeH="0" baseline="0" noProof="0">
                          <a:ln>
                            <a:noFill/>
                          </a:ln>
                          <a:solidFill>
                            <a:schemeClr val="bg1"/>
                          </a:solidFill>
                          <a:effectLst/>
                          <a:uLnTx/>
                          <a:uFillTx/>
                          <a:latin typeface="Nexa Bold" panose="00000800000000000000" pitchFamily="2" charset="0"/>
                          <a:ea typeface="+mn-ea"/>
                          <a:cs typeface="+mn-cs"/>
                        </a:rPr>
                        <a:t>Customer Profit from </a:t>
                      </a:r>
                      <a:r>
                        <a:rPr kumimoji="0" lang="en-US" sz="1000" b="0" i="0" u="none" strike="noStrike" kern="1200" cap="none" spc="0" normalizeH="0" baseline="0" noProof="0">
                          <a:ln>
                            <a:noFill/>
                          </a:ln>
                          <a:solidFill>
                            <a:schemeClr val="bg1"/>
                          </a:solidFill>
                          <a:effectLst/>
                          <a:highlight>
                            <a:srgbClr val="FFFF00"/>
                          </a:highlight>
                          <a:uLnTx/>
                          <a:uFillTx/>
                          <a:latin typeface="Nexa Bold" panose="00000800000000000000" pitchFamily="2" charset="0"/>
                          <a:ea typeface="+mn-ea"/>
                          <a:cs typeface="+mn-cs"/>
                        </a:rPr>
                        <a:t>PL</a:t>
                      </a:r>
                      <a:endParaRPr lang="en-US" sz="1000" b="0" i="0" u="none" strike="noStrike">
                        <a:solidFill>
                          <a:schemeClr val="bg1"/>
                        </a:solidFill>
                        <a:effectLst/>
                        <a:highlight>
                          <a:srgbClr val="FFFF00"/>
                        </a:highlight>
                        <a:latin typeface="Nexa Bold" panose="00000800000000000000" pitchFamily="2" charset="0"/>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106253">
                <a:tc>
                  <a:txBody>
                    <a:bodyPr/>
                    <a:lstStyle/>
                    <a:p>
                      <a:pPr algn="r" fontAlgn="b"/>
                      <a:r>
                        <a:rPr lang="en-US" sz="800" b="0" i="0" u="none" strike="noStrike" dirty="0">
                          <a:solidFill>
                            <a:srgbClr val="575555"/>
                          </a:solidFill>
                          <a:effectLst/>
                          <a:latin typeface="+mn-lt"/>
                        </a:rPr>
                        <a:t>Fish Finge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7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9.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118327"/>
                  </a:ext>
                </a:extLst>
              </a:tr>
              <a:tr h="106253">
                <a:tc>
                  <a:txBody>
                    <a:bodyPr/>
                    <a:lstStyle/>
                    <a:p>
                      <a:pPr algn="r" fontAlgn="b"/>
                      <a:r>
                        <a:rPr lang="en-US" sz="800" b="0" i="0" u="none" strike="noStrike" dirty="0">
                          <a:solidFill>
                            <a:srgbClr val="575555"/>
                          </a:solidFill>
                          <a:effectLst/>
                          <a:latin typeface="+mn-lt"/>
                        </a:rPr>
                        <a:t>Other Coated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4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2.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7.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3571205"/>
                  </a:ext>
                </a:extLst>
              </a:tr>
              <a:tr h="106253">
                <a:tc>
                  <a:txBody>
                    <a:bodyPr/>
                    <a:lstStyle/>
                    <a:p>
                      <a:pPr algn="r" fontAlgn="b"/>
                      <a:r>
                        <a:rPr lang="en-US" sz="800" b="0" i="0" u="none" strike="noStrike" dirty="0">
                          <a:solidFill>
                            <a:srgbClr val="575555"/>
                          </a:solidFill>
                          <a:effectLst/>
                          <a:latin typeface="+mn-lt"/>
                        </a:rPr>
                        <a:t>Nat White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1.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540141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663484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5621916"/>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357841"/>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383049"/>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507538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090803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106253">
                <a:tc>
                  <a:txBody>
                    <a:bodyPr/>
                    <a:lstStyle/>
                    <a:p>
                      <a:pPr algn="r" fontAlgn="b"/>
                      <a:r>
                        <a:rPr lang="en-US" sz="800" b="0" i="0" u="none" strike="noStrike">
                          <a:solidFill>
                            <a:srgbClr val="575555"/>
                          </a:solidFill>
                          <a:effectLst/>
                          <a:latin typeface="+mn-lt"/>
                        </a:rP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4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2.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21.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dirty="0">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8339894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71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146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0593355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fr-FR"/>
              <a:t>DATA SOURCE: Client P&amp;L</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US" dirty="0"/>
              <a:t>Sector KPIs Summary | Cream Cheese | National | Hershey</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r>
              <a:rPr lang="en-US" dirty="0">
                <a:highlight>
                  <a:srgbClr val="FFFF00"/>
                </a:highlight>
              </a:rPr>
              <a:t>Sector</a:t>
            </a:r>
            <a:r>
              <a:rPr lang="en-CH" dirty="0">
                <a:highlight>
                  <a:srgbClr val="FFFF00"/>
                </a:highlight>
              </a:rPr>
              <a:t>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extLst>
              <p:ext uri="{D42A27DB-BD31-4B8C-83A1-F6EECF244321}">
                <p14:modId xmlns:p14="http://schemas.microsoft.com/office/powerpoint/2010/main" val="872062300"/>
              </p:ext>
            </p:extLst>
          </p:nvPr>
        </p:nvGraphicFramePr>
        <p:xfrm>
          <a:off x="546970" y="1134112"/>
          <a:ext cx="8093029" cy="1766024"/>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297663">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Sector</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 Sales (</a:t>
                      </a:r>
                      <a:r>
                        <a:rPr lang="fr-CH" sz="900" u="none" strike="noStrike">
                          <a:solidFill>
                            <a:schemeClr val="tx2"/>
                          </a:solidFill>
                          <a:effectLst/>
                          <a:highlight>
                            <a:srgbClr val="FFFF00"/>
                          </a:highlight>
                          <a:latin typeface="Nexa Bold" panose="00000800000000000000"/>
                          <a:ea typeface="Open Sans" panose="020B0606030504020204" pitchFamily="34" charset="0"/>
                          <a:cs typeface="Open Sans" panose="020B0606030504020204" pitchFamily="34" charset="0"/>
                        </a:rPr>
                        <a:t>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Soft</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498</a:t>
                      </a:r>
                      <a:r>
                        <a:rPr lang="en-US" sz="800">
                          <a:solidFill>
                            <a:srgbClr val="575555"/>
                          </a:solidFill>
                          <a:latin typeface="Nexa Book"/>
                        </a:rPr>
                        <a:t>.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88%</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7%</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100</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5065472"/>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Brick</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580</a:t>
                      </a:r>
                      <a:r>
                        <a:rPr lang="en-US" sz="800">
                          <a:solidFill>
                            <a:srgbClr val="575555"/>
                          </a:solidFill>
                          <a:latin typeface="Nexa Book"/>
                        </a:rPr>
                        <a:t>.</a:t>
                      </a:r>
                      <a:r>
                        <a:rPr sz="800">
                          <a:solidFill>
                            <a:srgbClr val="575555"/>
                          </a:solidFill>
                          <a:latin typeface="Nexa Book"/>
                        </a:rPr>
                        <a:t>7</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59%</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2%</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8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Whipped</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19</a:t>
                      </a:r>
                      <a:r>
                        <a:rPr lang="en-US" sz="800" dirty="0">
                          <a:solidFill>
                            <a:srgbClr val="575555"/>
                          </a:solidFill>
                          <a:latin typeface="Nexa Book"/>
                        </a:rPr>
                        <a:t>.3</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66%</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1%</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26</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Pudding/Mousse/Gelatin/Parfaits</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0</a:t>
                      </a:r>
                      <a:r>
                        <a:rPr lang="en-US" sz="800" dirty="0">
                          <a:solidFill>
                            <a:srgbClr val="575555"/>
                          </a:solidFill>
                          <a:latin typeface="Nexa Book"/>
                        </a:rPr>
                        <a:t>.7</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22%</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38%</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43%</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5</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Soft</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498</a:t>
                      </a:r>
                      <a:r>
                        <a:rPr lang="en-US" sz="800">
                          <a:solidFill>
                            <a:srgbClr val="575555"/>
                          </a:solidFill>
                          <a:latin typeface="Nexa Book"/>
                        </a:rPr>
                        <a:t>.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88%</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7%</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100</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Brick</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580</a:t>
                      </a:r>
                      <a:r>
                        <a:rPr lang="en-US" sz="800">
                          <a:solidFill>
                            <a:srgbClr val="575555"/>
                          </a:solidFill>
                          <a:latin typeface="Nexa Book"/>
                        </a:rPr>
                        <a:t>.</a:t>
                      </a:r>
                      <a:r>
                        <a:rPr sz="800">
                          <a:solidFill>
                            <a:srgbClr val="575555"/>
                          </a:solidFill>
                          <a:latin typeface="Nexa Book"/>
                        </a:rPr>
                        <a:t>7</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59%</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2%</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8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857360637"/>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Whipped</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19</a:t>
                      </a:r>
                      <a:r>
                        <a:rPr lang="en-US" sz="800" dirty="0">
                          <a:solidFill>
                            <a:srgbClr val="575555"/>
                          </a:solidFill>
                          <a:latin typeface="Nexa Book"/>
                        </a:rPr>
                        <a:t>.3</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66%</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1%</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26</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280226519"/>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Pudding/Mousse/Gelatin/Parfaits</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0</a:t>
                      </a:r>
                      <a:r>
                        <a:rPr lang="en-US" sz="800" dirty="0">
                          <a:solidFill>
                            <a:srgbClr val="575555"/>
                          </a:solidFill>
                          <a:latin typeface="Nexa Book"/>
                        </a:rPr>
                        <a:t>.7</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22%</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38%</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43%</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5</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846919138"/>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Soft</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498</a:t>
                      </a:r>
                      <a:r>
                        <a:rPr lang="en-US" sz="800">
                          <a:solidFill>
                            <a:srgbClr val="575555"/>
                          </a:solidFill>
                          <a:latin typeface="Nexa Book"/>
                        </a:rPr>
                        <a:t>.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88%</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7%</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100</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0373044"/>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Brick</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580</a:t>
                      </a:r>
                      <a:r>
                        <a:rPr lang="en-US" sz="800" dirty="0">
                          <a:solidFill>
                            <a:srgbClr val="575555"/>
                          </a:solidFill>
                          <a:latin typeface="Nexa Book"/>
                        </a:rPr>
                        <a:t>.</a:t>
                      </a:r>
                      <a:r>
                        <a:rPr sz="800" dirty="0">
                          <a:solidFill>
                            <a:srgbClr val="575555"/>
                          </a:solidFill>
                          <a:latin typeface="Nexa Book"/>
                        </a:rPr>
                        <a:t>7</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59%</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2%</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8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69578306"/>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Whipped</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19</a:t>
                      </a:r>
                      <a:r>
                        <a:rPr lang="en-US" sz="800" dirty="0">
                          <a:solidFill>
                            <a:srgbClr val="575555"/>
                          </a:solidFill>
                          <a:latin typeface="Nexa Book"/>
                        </a:rPr>
                        <a:t>.3</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66%</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1%</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dirty="0">
                          <a:solidFill>
                            <a:srgbClr val="575555"/>
                          </a:solidFill>
                          <a:latin typeface="Nexa Book"/>
                        </a:rPr>
                        <a:t>26</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599167105"/>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a:t>
            </a:fld>
            <a:endParaRPr 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686202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r>
              <a:rPr lang="en-GB"/>
              <a:t>Mix Matrix | Weight of Business (</a:t>
            </a:r>
            <a:r>
              <a:rPr lang="en-GB" err="1"/>
              <a:t>WoB</a:t>
            </a:r>
            <a:r>
              <a:rPr lang="en-GB"/>
              <a:t>) vs. Net Sales per kg (NS/kg) and Gross Margin (GM%) | Client | P12M</a:t>
            </a:r>
            <a:endParaRPr lang="en-CH"/>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231" cy="9182100"/>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418600">
                  <a:extLst>
                    <a:ext uri="{9D8B030D-6E8A-4147-A177-3AD203B41FA5}">
                      <a16:colId xmlns:a16="http://schemas.microsoft.com/office/drawing/2014/main" val="2214050810"/>
                    </a:ext>
                  </a:extLst>
                </a:gridCol>
                <a:gridCol w="418600">
                  <a:extLst>
                    <a:ext uri="{9D8B030D-6E8A-4147-A177-3AD203B41FA5}">
                      <a16:colId xmlns:a16="http://schemas.microsoft.com/office/drawing/2014/main" val="704225536"/>
                    </a:ext>
                  </a:extLst>
                </a:gridCol>
                <a:gridCol w="418600">
                  <a:extLst>
                    <a:ext uri="{9D8B030D-6E8A-4147-A177-3AD203B41FA5}">
                      <a16:colId xmlns:a16="http://schemas.microsoft.com/office/drawing/2014/main" val="1285391802"/>
                    </a:ext>
                  </a:extLst>
                </a:gridCol>
                <a:gridCol w="418600">
                  <a:extLst>
                    <a:ext uri="{9D8B030D-6E8A-4147-A177-3AD203B41FA5}">
                      <a16:colId xmlns:a16="http://schemas.microsoft.com/office/drawing/2014/main" val="3180695831"/>
                    </a:ext>
                  </a:extLst>
                </a:gridCol>
                <a:gridCol w="418600">
                  <a:extLst>
                    <a:ext uri="{9D8B030D-6E8A-4147-A177-3AD203B41FA5}">
                      <a16:colId xmlns:a16="http://schemas.microsoft.com/office/drawing/2014/main" val="3841440830"/>
                    </a:ext>
                  </a:extLst>
                </a:gridCol>
                <a:gridCol w="418600">
                  <a:extLst>
                    <a:ext uri="{9D8B030D-6E8A-4147-A177-3AD203B41FA5}">
                      <a16:colId xmlns:a16="http://schemas.microsoft.com/office/drawing/2014/main" val="3330568015"/>
                    </a:ext>
                  </a:extLst>
                </a:gridCol>
                <a:gridCol w="418600">
                  <a:extLst>
                    <a:ext uri="{9D8B030D-6E8A-4147-A177-3AD203B41FA5}">
                      <a16:colId xmlns:a16="http://schemas.microsoft.com/office/drawing/2014/main" val="3707381308"/>
                    </a:ext>
                  </a:extLst>
                </a:gridCol>
                <a:gridCol w="418600">
                  <a:extLst>
                    <a:ext uri="{9D8B030D-6E8A-4147-A177-3AD203B41FA5}">
                      <a16:colId xmlns:a16="http://schemas.microsoft.com/office/drawing/2014/main" val="4072370141"/>
                    </a:ext>
                  </a:extLst>
                </a:gridCol>
                <a:gridCol w="418600">
                  <a:extLst>
                    <a:ext uri="{9D8B030D-6E8A-4147-A177-3AD203B41FA5}">
                      <a16:colId xmlns:a16="http://schemas.microsoft.com/office/drawing/2014/main" val="226346896"/>
                    </a:ext>
                  </a:extLst>
                </a:gridCol>
                <a:gridCol w="418600">
                  <a:extLst>
                    <a:ext uri="{9D8B030D-6E8A-4147-A177-3AD203B41FA5}">
                      <a16:colId xmlns:a16="http://schemas.microsoft.com/office/drawing/2014/main" val="4016487860"/>
                    </a:ext>
                  </a:extLst>
                </a:gridCol>
                <a:gridCol w="418600">
                  <a:extLst>
                    <a:ext uri="{9D8B030D-6E8A-4147-A177-3AD203B41FA5}">
                      <a16:colId xmlns:a16="http://schemas.microsoft.com/office/drawing/2014/main" val="1439032557"/>
                    </a:ext>
                  </a:extLst>
                </a:gridCol>
                <a:gridCol w="418600">
                  <a:extLst>
                    <a:ext uri="{9D8B030D-6E8A-4147-A177-3AD203B41FA5}">
                      <a16:colId xmlns:a16="http://schemas.microsoft.com/office/drawing/2014/main" val="2412921093"/>
                    </a:ext>
                  </a:extLst>
                </a:gridCol>
                <a:gridCol w="418600">
                  <a:extLst>
                    <a:ext uri="{9D8B030D-6E8A-4147-A177-3AD203B41FA5}">
                      <a16:colId xmlns:a16="http://schemas.microsoft.com/office/drawing/2014/main" val="1272340416"/>
                    </a:ext>
                  </a:extLst>
                </a:gridCol>
                <a:gridCol w="418600">
                  <a:extLst>
                    <a:ext uri="{9D8B030D-6E8A-4147-A177-3AD203B41FA5}">
                      <a16:colId xmlns:a16="http://schemas.microsoft.com/office/drawing/2014/main" val="263149858"/>
                    </a:ext>
                  </a:extLst>
                </a:gridCol>
                <a:gridCol w="418600">
                  <a:extLst>
                    <a:ext uri="{9D8B030D-6E8A-4147-A177-3AD203B41FA5}">
                      <a16:colId xmlns:a16="http://schemas.microsoft.com/office/drawing/2014/main" val="2923820611"/>
                    </a:ext>
                  </a:extLst>
                </a:gridCol>
                <a:gridCol w="418600">
                  <a:extLst>
                    <a:ext uri="{9D8B030D-6E8A-4147-A177-3AD203B41FA5}">
                      <a16:colId xmlns:a16="http://schemas.microsoft.com/office/drawing/2014/main" val="3010580551"/>
                    </a:ext>
                  </a:extLst>
                </a:gridCol>
                <a:gridCol w="418600">
                  <a:extLst>
                    <a:ext uri="{9D8B030D-6E8A-4147-A177-3AD203B41FA5}">
                      <a16:colId xmlns:a16="http://schemas.microsoft.com/office/drawing/2014/main" val="1117647921"/>
                    </a:ext>
                  </a:extLst>
                </a:gridCol>
                <a:gridCol w="418600">
                  <a:extLst>
                    <a:ext uri="{9D8B030D-6E8A-4147-A177-3AD203B41FA5}">
                      <a16:colId xmlns:a16="http://schemas.microsoft.com/office/drawing/2014/main" val="2350766254"/>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National</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Carrefour</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Esselunga</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Pam</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14918">
                <a:tc rowSpan="2">
                  <a:txBody>
                    <a:bodyPr/>
                    <a:lstStyle/>
                    <a:p>
                      <a:r>
                        <a:rPr lang="en-GB" sz="1000" b="0" dirty="0">
                          <a:latin typeface="Nexa Bold" panose="00000800000000000000" pitchFamily="2" charset="0"/>
                        </a:rPr>
                        <a:t>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88465">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9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88465">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88465">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7567623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per kg (NS/kg)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306860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Sector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Sector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chemeClr val="tx2"/>
                          </a:solidFill>
                          <a:effectLst/>
                          <a:latin typeface="Nexa Bold" panose="00000800000000000000" pitchFamily="2" charset="0"/>
                        </a:rPr>
                        <a:t>Tablets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Filled Ba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Pralines/Gif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Mini/Miniatu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Wafe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dirty="0">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20275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321894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299976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D067C82-E5C5-438E-9BC0-F429873EE7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0E6D800-E7DA-4662-9B53-41A7912895DF}">
  <ds:schemaRefs>
    <ds:schemaRef ds:uri="http://schemas.openxmlformats.org/package/2006/metadata/core-properties"/>
    <ds:schemaRef ds:uri="http://purl.org/dc/elements/1.1/"/>
    <ds:schemaRef ds:uri="http://purl.org/dc/dcmitype/"/>
    <ds:schemaRef ds:uri="http://schemas.microsoft.com/office/2006/metadata/properties"/>
    <ds:schemaRef ds:uri="http://schemas.microsoft.com/office/2006/documentManagement/types"/>
    <ds:schemaRef ds:uri="http://schemas.microsoft.com/office/infopath/2007/PartnerControls"/>
    <ds:schemaRef ds:uri="http://purl.org/dc/terms/"/>
    <ds:schemaRef ds:uri="http://www.w3.org/XML/1998/namespace"/>
    <ds:schemaRef ds:uri="0ad93b7f-b0cd-4c46-aaaf-ff14495948cf"/>
    <ds:schemaRef ds:uri="474cf4e4-8a51-432b-9e1b-0ea607ac38ff"/>
  </ds:schemaRefs>
</ds:datastoreItem>
</file>

<file path=customXml/itemProps3.xml><?xml version="1.0" encoding="utf-8"?>
<ds:datastoreItem xmlns:ds="http://schemas.openxmlformats.org/officeDocument/2006/customXml" ds:itemID="{AC113E98-7689-4749-B74E-87793737B60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76</TotalTime>
  <Words>4487</Words>
  <Application>Microsoft Office PowerPoint</Application>
  <PresentationFormat>On-screen Show (16:9)</PresentationFormat>
  <Paragraphs>1751</Paragraphs>
  <Slides>10</Slides>
  <Notes>4</Notes>
  <HiddenSlides>1</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0"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Mix Analysis (Replace with So What)</vt:lpstr>
      <vt:lpstr>Trade Margin Analysis by Retailer (Replace with So What)</vt:lpstr>
      <vt:lpstr>Sector KPIs Summary (Replace with So What)</vt:lpstr>
      <vt:lpstr>SKU KPIs Summary (Replace with So What)</vt:lpstr>
      <vt:lpstr>Mix Matrix (Replace with So What)</vt:lpstr>
      <vt:lpstr>Mix Matrix by brand (Replace with So What)</vt:lpstr>
      <vt:lpstr>Sector Spending pool split (Replace with So What)</vt:lpstr>
      <vt:lpstr>Product Spending pool split (Replace with So What)</vt:lpstr>
      <vt:lpstr>SKU Profitability Analysis with TM% (Replace with So What)</vt:lpstr>
      <vt:lpstr>Trade margin table vs Competition (Replace with So Wha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x Analysis (Replace with So What)</dc:title>
  <dc:creator>Bhagya RANASINGHE</dc:creator>
  <cp:lastModifiedBy>Salma ANANY</cp:lastModifiedBy>
  <cp:revision>47</cp:revision>
  <dcterms:created xsi:type="dcterms:W3CDTF">2024-07-05T15:31:56Z</dcterms:created>
  <dcterms:modified xsi:type="dcterms:W3CDTF">2025-08-20T09:49: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